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3AC7DAE0-F155-4540-893D-F80E1DC25EAE}">
          <p14:sldIdLst>
            <p14:sldId id="2147475173"/>
            <p14:sldId id="2147475174"/>
            <p14:sldId id="2147475175"/>
            <p14:sldId id="2147475176"/>
            <p14:sldId id="2147475177"/>
            <p14:sldId id="2147475178"/>
            <p14:sldId id="2147475179"/>
            <p14:sldId id="2147475180"/>
            <p14:sldId id="2147475181"/>
          </p14:sldIdLst>
        </p14:section>
        <p14:section name="Brackets By Sector" id="{76C70374-185E-4AFD-96BC-36DB1729C215}">
          <p14:sldIdLst>
            <p14:sldId id="2147475182"/>
            <p14:sldId id="2147475183"/>
            <p14:sldId id="2147475184"/>
            <p14:sldId id="2147475185"/>
            <p14:sldId id="2147475186"/>
            <p14:sldId id="2147475187"/>
            <p14:sldId id="2147475188"/>
            <p14:sldId id="2147475189"/>
            <p14:sldId id="2147475190"/>
          </p14:sldIdLst>
        </p14:section>
        <p14:section name="Brackets By Segment" id="{34335B43-A78E-4B4E-A3FC-5304664A998E}">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7</c:v>
                </c:pt>
                <c:pt idx="6">
                  <c:v>0.12652950462795648</c:v>
                </c:pt>
                <c:pt idx="7">
                  <c:v>0.1782603291847292</c:v>
                </c:pt>
                <c:pt idx="8">
                  <c:v>0.2302949686717949</c:v>
                </c:pt>
                <c:pt idx="9">
                  <c:v>0.103249599446479</c:v>
                </c:pt>
                <c:pt idx="10">
                  <c:v>0.083409027593133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8805964401529397</c:v>
                </c:pt>
                <c:pt idx="3">
                  <c:v>0.003305048724703075</c:v>
                </c:pt>
                <c:pt idx="4">
                  <c:v>0.0017550118633459153</c:v>
                </c:pt>
                <c:pt idx="5">
                  <c:v>0.0021578329734128375</c:v>
                </c:pt>
                <c:pt idx="6">
                  <c:v>0.0023843362055684073</c:v>
                </c:pt>
                <c:pt idx="7">
                  <c:v>0.0057335995141645935</c:v>
                </c:pt>
                <c:pt idx="8">
                  <c:v>0.0067972502166184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848985864658</c:v>
                </c:pt>
                <c:pt idx="2">
                  <c:v>0.04538602893418363</c:v>
                </c:pt>
                <c:pt idx="3">
                  <c:v>0.007906538469993625</c:v>
                </c:pt>
                <c:pt idx="4">
                  <c:v>0.005480867425960825</c:v>
                </c:pt>
                <c:pt idx="5">
                  <c:v>0.01542324587261205</c:v>
                </c:pt>
                <c:pt idx="6">
                  <c:v>0.06904094312888082</c:v>
                </c:pt>
                <c:pt idx="7">
                  <c:v>0.15744516134834333</c:v>
                </c:pt>
                <c:pt idx="8">
                  <c:v>0.2739069741414973</c:v>
                </c:pt>
                <c:pt idx="9">
                  <c:v>0.1947065662490482</c:v>
                </c:pt>
                <c:pt idx="10">
                  <c:v>0.225385184570833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c:v>
                </c:pt>
                <c:pt idx="1">
                  <c:v>0.026808770478219595</c:v>
                </c:pt>
                <c:pt idx="2">
                  <c:v>0.033618921453349215</c:v>
                </c:pt>
                <c:pt idx="3">
                  <c:v>0.043193698660743136</c:v>
                </c:pt>
                <c:pt idx="4">
                  <c:v>0.06086647020153795</c:v>
                </c:pt>
                <c:pt idx="5">
                  <c:v>0.11629275414523582</c:v>
                </c:pt>
                <c:pt idx="6">
                  <c:v>0.14114999538782796</c:v>
                </c:pt>
                <c:pt idx="7">
                  <c:v>0.18708207317322248</c:v>
                </c:pt>
                <c:pt idx="8">
                  <c:v>0.1967227295391132</c:v>
                </c:pt>
                <c:pt idx="9">
                  <c:v>0.14353338057932885</c:v>
                </c:pt>
                <c:pt idx="10">
                  <c:v>0.026654505626985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3505707366851</c:v>
                </c:pt>
                <c:pt idx="4">
                  <c:v>0.007984190768593007</c:v>
                </c:pt>
                <c:pt idx="5">
                  <c:v>0.0037744728815551137</c:v>
                </c:pt>
                <c:pt idx="6">
                  <c:v>0.0034438242223271344</c:v>
                </c:pt>
                <c:pt idx="7">
                  <c:v>0.00436629017630431</c:v>
                </c:pt>
                <c:pt idx="8">
                  <c:v>0.0019560900311123767</c:v>
                </c:pt>
                <c:pt idx="9">
                  <c:v>0.00151409847341522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2</c:v>
                </c:pt>
                <c:pt idx="6">
                  <c:v>0.07802381189235881</c:v>
                </c:pt>
                <c:pt idx="7">
                  <c:v>0.11515289447697061</c:v>
                </c:pt>
                <c:pt idx="8">
                  <c:v>0.1802110412061716</c:v>
                </c:pt>
                <c:pt idx="9">
                  <c:v>0.01543623998233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540631649573792</c:v>
                </c:pt>
                <c:pt idx="1">
                  <c:v>0.012093629714621367</c:v>
                </c:pt>
                <c:pt idx="2">
                  <c:v>0.014394612949775013</c:v>
                </c:pt>
                <c:pt idx="3">
                  <c:v>0.07418026880793831</c:v>
                </c:pt>
                <c:pt idx="4">
                  <c:v>0.05471854397776581</c:v>
                </c:pt>
                <c:pt idx="5">
                  <c:v>0.1256468879206534</c:v>
                </c:pt>
                <c:pt idx="6">
                  <c:v>0.11871841643855079</c:v>
                </c:pt>
                <c:pt idx="7">
                  <c:v>0.18860584810262948</c:v>
                </c:pt>
                <c:pt idx="8">
                  <c:v>0.21497156766096434</c:v>
                </c:pt>
                <c:pt idx="9">
                  <c:v>0.11387875955480223</c:v>
                </c:pt>
                <c:pt idx="10">
                  <c:v>0.06825083322272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0911140082494788</c:v>
                </c:pt>
                <c:pt idx="3">
                  <c:v>0.008893067715346174</c:v>
                </c:pt>
                <c:pt idx="4">
                  <c:v>0.010190266006000218</c:v>
                </c:pt>
                <c:pt idx="6">
                  <c:v>0.001123567768810696</c:v>
                </c:pt>
                <c:pt idx="7">
                  <c:v>0.010999247107589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5919305396859</c:v>
                </c:pt>
                <c:pt idx="3">
                  <c:v>0.38033761780311476</c:v>
                </c:pt>
                <c:pt idx="4">
                  <c:v>0.10777100894814891</c:v>
                </c:pt>
                <c:pt idx="5">
                  <c:v>0.1124391481839141</c:v>
                </c:pt>
                <c:pt idx="6">
                  <c:v>0.005705814164921815</c:v>
                </c:pt>
                <c:pt idx="7">
                  <c:v>0.18411949957147977</c:v>
                </c:pt>
                <c:pt idx="8">
                  <c:v>0.201206486826311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7402912863983</c:v>
                </c:pt>
                <c:pt idx="2">
                  <c:v>0.04008374234048721</c:v>
                </c:pt>
                <c:pt idx="3">
                  <c:v>0.012276837033556913</c:v>
                </c:pt>
                <c:pt idx="4">
                  <c:v>0.007189571067283759</c:v>
                </c:pt>
                <c:pt idx="5">
                  <c:v>0.013904077409810173</c:v>
                </c:pt>
                <c:pt idx="6">
                  <c:v>0.07182911164645787</c:v>
                </c:pt>
                <c:pt idx="7">
                  <c:v>0.15564817221283697</c:v>
                </c:pt>
                <c:pt idx="8">
                  <c:v>0.2797607683003629</c:v>
                </c:pt>
                <c:pt idx="9">
                  <c:v>0.18838515478963205</c:v>
                </c:pt>
                <c:pt idx="10">
                  <c:v>0.2254734403582602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8110296604864</c:v>
                </c:pt>
                <c:pt idx="1">
                  <c:v>0.01985881062028262</c:v>
                </c:pt>
                <c:pt idx="2">
                  <c:v>0.020672714894646352</c:v>
                </c:pt>
                <c:pt idx="3">
                  <c:v>0.03816181269444779</c:v>
                </c:pt>
                <c:pt idx="4">
                  <c:v>0.061731993688228556</c:v>
                </c:pt>
                <c:pt idx="5">
                  <c:v>0.09898178660011778</c:v>
                </c:pt>
                <c:pt idx="6">
                  <c:v>0.13314597481758586</c:v>
                </c:pt>
                <c:pt idx="7">
                  <c:v>0.17875425689666183</c:v>
                </c:pt>
                <c:pt idx="8">
                  <c:v>0.24426115458186037</c:v>
                </c:pt>
                <c:pt idx="9">
                  <c:v>0.09503180714688038</c:v>
                </c:pt>
                <c:pt idx="10">
                  <c:v>0.0926915777626836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45541230633906</c:v>
                </c:pt>
                <c:pt idx="7">
                  <c:v>0.004474388654481323</c:v>
                </c:pt>
                <c:pt idx="8">
                  <c:v>0.008301678324277485</c:v>
                </c:pt>
                <c:pt idx="9">
                  <c:v>0.00081897963897297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2628279398224</c:v>
                </c:pt>
                <c:pt idx="1">
                  <c:v>0.0011038921196886058</c:v>
                </c:pt>
                <c:pt idx="2">
                  <c:v>0.0015283985064629768</c:v>
                </c:pt>
                <c:pt idx="3">
                  <c:v>0.24076304159164355</c:v>
                </c:pt>
                <c:pt idx="4">
                  <c:v>0.25076624691744265</c:v>
                </c:pt>
                <c:pt idx="5">
                  <c:v>0.09502257074442175</c:v>
                </c:pt>
                <c:pt idx="6">
                  <c:v>0.01776750922929795</c:v>
                </c:pt>
                <c:pt idx="7">
                  <c:v>0.1586232953835337</c:v>
                </c:pt>
                <c:pt idx="8">
                  <c:v>0.20675803051853367</c:v>
                </c:pt>
                <c:pt idx="9">
                  <c:v>0.0096407321949929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88105158819395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848985864658</c:v>
                </c:pt>
                <c:pt idx="2">
                  <c:v>0.04538602893418363</c:v>
                </c:pt>
                <c:pt idx="3">
                  <c:v>0.007906538469993625</c:v>
                </c:pt>
                <c:pt idx="4">
                  <c:v>0.005480867425960825</c:v>
                </c:pt>
                <c:pt idx="5">
                  <c:v>0.01542324587261205</c:v>
                </c:pt>
                <c:pt idx="6">
                  <c:v>0.06904094312888082</c:v>
                </c:pt>
                <c:pt idx="7">
                  <c:v>0.15744516134834333</c:v>
                </c:pt>
                <c:pt idx="8">
                  <c:v>0.2739069741414973</c:v>
                </c:pt>
                <c:pt idx="9">
                  <c:v>0.1947065662490482</c:v>
                </c:pt>
                <c:pt idx="10">
                  <c:v>0.225385184570833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2168140222272406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c:v>
                </c:pt>
                <c:pt idx="1">
                  <c:v>0.026808770478219595</c:v>
                </c:pt>
                <c:pt idx="2">
                  <c:v>0.033618921453349215</c:v>
                </c:pt>
                <c:pt idx="3">
                  <c:v>0.043193698660743136</c:v>
                </c:pt>
                <c:pt idx="4">
                  <c:v>0.06086647020153795</c:v>
                </c:pt>
                <c:pt idx="5">
                  <c:v>0.11629275414523582</c:v>
                </c:pt>
                <c:pt idx="6">
                  <c:v>0.14114999538782796</c:v>
                </c:pt>
                <c:pt idx="7">
                  <c:v>0.18708207317322248</c:v>
                </c:pt>
                <c:pt idx="8">
                  <c:v>0.1967227295391132</c:v>
                </c:pt>
                <c:pt idx="9">
                  <c:v>0.14353338057932885</c:v>
                </c:pt>
                <c:pt idx="10">
                  <c:v>0.026654505626985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2620463993700407</c:v>
                </c:pt>
                <c:pt idx="7">
                  <c:v>0.006787563320020437</c:v>
                </c:pt>
                <c:pt idx="8">
                  <c:v>0.008922813295508415</c:v>
                </c:pt>
                <c:pt idx="9">
                  <c:v>0.001143218370220824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2</c:v>
                </c:pt>
                <c:pt idx="6">
                  <c:v>0.07802381189235881</c:v>
                </c:pt>
                <c:pt idx="7">
                  <c:v>0.11515289447697061</c:v>
                </c:pt>
                <c:pt idx="8">
                  <c:v>0.1802110412061716</c:v>
                </c:pt>
                <c:pt idx="9">
                  <c:v>0.01543623998233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4">
                  <c:v>0.0019428990141866858</c:v>
                </c:pt>
                <c:pt idx="5">
                  <c:v>0.07689897051294806</c:v>
                </c:pt>
                <c:pt idx="6">
                  <c:v>0.021189235879431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540631649573792</c:v>
                </c:pt>
                <c:pt idx="1">
                  <c:v>0.012093629714621367</c:v>
                </c:pt>
                <c:pt idx="2">
                  <c:v>0.014394612949775013</c:v>
                </c:pt>
                <c:pt idx="3">
                  <c:v>0.07418026880793831</c:v>
                </c:pt>
                <c:pt idx="4">
                  <c:v>0.05471854397776581</c:v>
                </c:pt>
                <c:pt idx="5">
                  <c:v>0.1256468879206534</c:v>
                </c:pt>
                <c:pt idx="6">
                  <c:v>0.11871841643855079</c:v>
                </c:pt>
                <c:pt idx="7">
                  <c:v>0.18860584810262948</c:v>
                </c:pt>
                <c:pt idx="8">
                  <c:v>0.21497156766096434</c:v>
                </c:pt>
                <c:pt idx="9">
                  <c:v>0.11387875955480223</c:v>
                </c:pt>
                <c:pt idx="10">
                  <c:v>0.06825083322272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427290925762504</c:v>
                </c:pt>
                <c:pt idx="6">
                  <c:v>0.0007271674354298761</c:v>
                </c:pt>
                <c:pt idx="7">
                  <c:v>0.0037977808617816865</c:v>
                </c:pt>
                <c:pt idx="8">
                  <c:v>0.014202711947701584</c:v>
                </c:pt>
                <c:pt idx="9">
                  <c:v>0.00140934083788132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5919305396859</c:v>
                </c:pt>
                <c:pt idx="3">
                  <c:v>0.38033761780311476</c:v>
                </c:pt>
                <c:pt idx="4">
                  <c:v>0.10777100894814891</c:v>
                </c:pt>
                <c:pt idx="5">
                  <c:v>0.1124391481839141</c:v>
                </c:pt>
                <c:pt idx="6">
                  <c:v>0.005705814164921815</c:v>
                </c:pt>
                <c:pt idx="7">
                  <c:v>0.18411949957147977</c:v>
                </c:pt>
                <c:pt idx="8">
                  <c:v>0.201206486826311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1124391481839141</c:v>
                </c:pt>
                <c:pt idx="6">
                  <c:v>0.00519446569376986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7402912863983</c:v>
                </c:pt>
                <c:pt idx="2">
                  <c:v>0.04008374234048721</c:v>
                </c:pt>
                <c:pt idx="3">
                  <c:v>0.012276837033556913</c:v>
                </c:pt>
                <c:pt idx="4">
                  <c:v>0.007189571067283759</c:v>
                </c:pt>
                <c:pt idx="5">
                  <c:v>0.013904077409810173</c:v>
                </c:pt>
                <c:pt idx="6">
                  <c:v>0.07182911164645787</c:v>
                </c:pt>
                <c:pt idx="7">
                  <c:v>0.15564817221283697</c:v>
                </c:pt>
                <c:pt idx="8">
                  <c:v>0.2797607683003629</c:v>
                </c:pt>
                <c:pt idx="9">
                  <c:v>0.18838515478963205</c:v>
                </c:pt>
                <c:pt idx="10">
                  <c:v>0.2254734403582602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2168891632263417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14416230522547</c:v>
                </c:pt>
                <c:pt idx="1">
                  <c:v>0.022345770538797674</c:v>
                </c:pt>
                <c:pt idx="2">
                  <c:v>0.03429018394452343</c:v>
                </c:pt>
                <c:pt idx="3">
                  <c:v>0.08080788065448997</c:v>
                </c:pt>
                <c:pt idx="4">
                  <c:v>0.16453614933211275</c:v>
                </c:pt>
                <c:pt idx="5">
                  <c:v>0.12102190703651872</c:v>
                </c:pt>
                <c:pt idx="6">
                  <c:v>0.06837932156017054</c:v>
                </c:pt>
                <c:pt idx="7">
                  <c:v>0.277033238563723</c:v>
                </c:pt>
                <c:pt idx="8">
                  <c:v>0.16530007726544974</c:v>
                </c:pt>
                <c:pt idx="9">
                  <c:v>0.042694142118576014</c:v>
                </c:pt>
                <c:pt idx="10">
                  <c:v>0.0038769127551155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34267255754208456</c:v>
                </c:pt>
                <c:pt idx="3">
                  <c:v>0.006827337072079137</c:v>
                </c:pt>
                <c:pt idx="4">
                  <c:v>0.009911853027981745</c:v>
                </c:pt>
                <c:pt idx="5">
                  <c:v>0.026441787850900917</c:v>
                </c:pt>
                <c:pt idx="7">
                  <c:v>0.0641718200234897</c:v>
                </c:pt>
                <c:pt idx="8">
                  <c:v>0.062764568624981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2574791129630307</c:v>
                </c:pt>
                <c:pt idx="2">
                  <c:v>0.007666553376445415</c:v>
                </c:pt>
                <c:pt idx="3">
                  <c:v>0.057980360537331535</c:v>
                </c:pt>
                <c:pt idx="4">
                  <c:v>0.023981649856609964</c:v>
                </c:pt>
                <c:pt idx="5">
                  <c:v>0.02130787131748345</c:v>
                </c:pt>
                <c:pt idx="6">
                  <c:v>0.18063637976569014</c:v>
                </c:pt>
                <c:pt idx="7">
                  <c:v>0.14441862498561556</c:v>
                </c:pt>
                <c:pt idx="8">
                  <c:v>0.3033047413854443</c:v>
                </c:pt>
                <c:pt idx="9">
                  <c:v>0.14396835371936478</c:v>
                </c:pt>
                <c:pt idx="10">
                  <c:v>0.1040247474045487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3066195746928655</c:v>
                </c:pt>
                <c:pt idx="8">
                  <c:v>0.00478608412707870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55491145952558</c:v>
                </c:pt>
                <c:pt idx="1">
                  <c:v>0.016440133151909342</c:v>
                </c:pt>
                <c:pt idx="2">
                  <c:v>0.018194910040100366</c:v>
                </c:pt>
                <c:pt idx="3">
                  <c:v>0.04115312531860766</c:v>
                </c:pt>
                <c:pt idx="4">
                  <c:v>0.07207606056610544</c:v>
                </c:pt>
                <c:pt idx="5">
                  <c:v>0.09152516919785338</c:v>
                </c:pt>
                <c:pt idx="6">
                  <c:v>0.10792119445842582</c:v>
                </c:pt>
                <c:pt idx="7">
                  <c:v>0.18937629937870426</c:v>
                </c:pt>
                <c:pt idx="8">
                  <c:v>0.1959663782726574</c:v>
                </c:pt>
                <c:pt idx="9">
                  <c:v>0.049639033812769594</c:v>
                </c:pt>
                <c:pt idx="10">
                  <c:v>0.2115522046569141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39535160242343</c:v>
                </c:pt>
                <c:pt idx="1">
                  <c:v>0.018004328980539077</c:v>
                </c:pt>
                <c:pt idx="2">
                  <c:v>0.011101551809851031</c:v>
                </c:pt>
                <c:pt idx="3">
                  <c:v>0.01397930857373915</c:v>
                </c:pt>
                <c:pt idx="4">
                  <c:v>0.02726865997153642</c:v>
                </c:pt>
                <c:pt idx="5">
                  <c:v>0.14782692723334404</c:v>
                </c:pt>
                <c:pt idx="6">
                  <c:v>0.13485627275324794</c:v>
                </c:pt>
                <c:pt idx="7">
                  <c:v>0.15504877286571603</c:v>
                </c:pt>
                <c:pt idx="8">
                  <c:v>0.26200827027857587</c:v>
                </c:pt>
                <c:pt idx="9">
                  <c:v>0.18504429883440607</c:v>
                </c:pt>
                <c:pt idx="10">
                  <c:v>0.02046625709662095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15526407048135</c:v>
                </c:pt>
                <c:pt idx="1">
                  <c:v>0.023478993829360306</c:v>
                </c:pt>
                <c:pt idx="2">
                  <c:v>0.04246941521493077</c:v>
                </c:pt>
                <c:pt idx="3">
                  <c:v>0.020691145323150736</c:v>
                </c:pt>
                <c:pt idx="4">
                  <c:v>0.05028369117192234</c:v>
                </c:pt>
                <c:pt idx="5">
                  <c:v>0.07257365399092294</c:v>
                </c:pt>
                <c:pt idx="6">
                  <c:v>0.14498752408549265</c:v>
                </c:pt>
                <c:pt idx="7">
                  <c:v>0.16484856603912199</c:v>
                </c:pt>
                <c:pt idx="8">
                  <c:v>0.37004087706994043</c:v>
                </c:pt>
                <c:pt idx="9">
                  <c:v>0.07152891924359055</c:v>
                </c:pt>
                <c:pt idx="10">
                  <c:v>0.0029419499610859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213776378052894</c:v>
                </c:pt>
                <c:pt idx="1">
                  <c:v>0.07601075758833604</c:v>
                </c:pt>
                <c:pt idx="2">
                  <c:v>0.019801583306298543</c:v>
                </c:pt>
                <c:pt idx="3">
                  <c:v>0.03862397741285231</c:v>
                </c:pt>
                <c:pt idx="4">
                  <c:v>0.0704181629023056</c:v>
                </c:pt>
                <c:pt idx="5">
                  <c:v>0.21572543411195483</c:v>
                </c:pt>
                <c:pt idx="6">
                  <c:v>0.3547567094846669</c:v>
                </c:pt>
                <c:pt idx="7">
                  <c:v>0.11896334298735282</c:v>
                </c:pt>
                <c:pt idx="8">
                  <c:v>0.03931459111135447</c:v>
                </c:pt>
                <c:pt idx="9">
                  <c:v>0.0242476773143495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631672301515154</c:v>
                </c:pt>
                <c:pt idx="1">
                  <c:v>0.005830094481709124</c:v>
                </c:pt>
                <c:pt idx="2">
                  <c:v>0.008894708651628284</c:v>
                </c:pt>
                <c:pt idx="3">
                  <c:v>0.02799823980619343</c:v>
                </c:pt>
                <c:pt idx="4">
                  <c:v>0.10843584406279787</c:v>
                </c:pt>
                <c:pt idx="5">
                  <c:v>0.06681764334002986</c:v>
                </c:pt>
                <c:pt idx="6">
                  <c:v>0.21500199380686644</c:v>
                </c:pt>
                <c:pt idx="7">
                  <c:v>0.26504918493742546</c:v>
                </c:pt>
                <c:pt idx="8">
                  <c:v>0.15835274753479345</c:v>
                </c:pt>
                <c:pt idx="9">
                  <c:v>0.0499648323846939</c:v>
                </c:pt>
                <c:pt idx="10">
                  <c:v>0.017337987978710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80547764915187</c:v>
                </c:pt>
                <c:pt idx="1">
                  <c:v>0.04540702001606817</c:v>
                </c:pt>
                <c:pt idx="2">
                  <c:v>0.03409405223563892</c:v>
                </c:pt>
                <c:pt idx="3">
                  <c:v>0.10811884818817145</c:v>
                </c:pt>
                <c:pt idx="4">
                  <c:v>0.165406791758633</c:v>
                </c:pt>
                <c:pt idx="5">
                  <c:v>0.0997299325842492</c:v>
                </c:pt>
                <c:pt idx="6">
                  <c:v>0.09573927311006256</c:v>
                </c:pt>
                <c:pt idx="7">
                  <c:v>0.19579893844579263</c:v>
                </c:pt>
                <c:pt idx="8">
                  <c:v>0.18662621492811068</c:v>
                </c:pt>
                <c:pt idx="9">
                  <c:v>0.020947871253378533</c:v>
                </c:pt>
                <c:pt idx="10">
                  <c:v>0.011325579830742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27770080751443327</c:v>
                </c:pt>
                <c:pt idx="3">
                  <c:v>0.0318619674360169</c:v>
                </c:pt>
                <c:pt idx="4">
                  <c:v>0.01691900346938896</c:v>
                </c:pt>
                <c:pt idx="5">
                  <c:v>0.020802357138447355</c:v>
                </c:pt>
                <c:pt idx="6">
                  <c:v>0.017400080824634567</c:v>
                </c:pt>
                <c:pt idx="7">
                  <c:v>0.0519806273945063</c:v>
                </c:pt>
                <c:pt idx="8">
                  <c:v>0.061718329415258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2750555814452005</c:v>
                </c:pt>
                <c:pt idx="2">
                  <c:v>0.004450325450931046</c:v>
                </c:pt>
                <c:pt idx="3">
                  <c:v>0.06471624922901416</c:v>
                </c:pt>
                <c:pt idx="4">
                  <c:v>0.024844439046991046</c:v>
                </c:pt>
                <c:pt idx="5">
                  <c:v>0.06507363197089366</c:v>
                </c:pt>
                <c:pt idx="6">
                  <c:v>0.12226394010157356</c:v>
                </c:pt>
                <c:pt idx="7">
                  <c:v>0.24437305930213674</c:v>
                </c:pt>
                <c:pt idx="8">
                  <c:v>0.24572902336939234</c:v>
                </c:pt>
                <c:pt idx="9">
                  <c:v>0.15850126894474115</c:v>
                </c:pt>
                <c:pt idx="10">
                  <c:v>0.0424377845533649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45544047456652</c:v>
                </c:pt>
                <c:pt idx="7">
                  <c:v>0.0026853604363414013</c:v>
                </c:pt>
                <c:pt idx="8">
                  <c:v>0.00310633033399305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549127697873031</c:v>
                </c:pt>
                <c:pt idx="1">
                  <c:v>0.018015538173938125</c:v>
                </c:pt>
                <c:pt idx="2">
                  <c:v>0.048921228940550794</c:v>
                </c:pt>
                <c:pt idx="3">
                  <c:v>0.040205132124715194</c:v>
                </c:pt>
                <c:pt idx="4">
                  <c:v>0.0350864456082146</c:v>
                </c:pt>
                <c:pt idx="5">
                  <c:v>0.12366001487517939</c:v>
                </c:pt>
                <c:pt idx="6">
                  <c:v>0.1497106993230088</c:v>
                </c:pt>
                <c:pt idx="7">
                  <c:v>0.1647679430192327</c:v>
                </c:pt>
                <c:pt idx="8">
                  <c:v>0.16299902679493175</c:v>
                </c:pt>
                <c:pt idx="9">
                  <c:v>0.1966570314498176</c:v>
                </c:pt>
                <c:pt idx="10">
                  <c:v>0.046427811992538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65898334756715</c:v>
                </c:pt>
                <c:pt idx="1">
                  <c:v>0.020705941386764733</c:v>
                </c:pt>
                <c:pt idx="2">
                  <c:v>0.0162787334152966</c:v>
                </c:pt>
                <c:pt idx="3">
                  <c:v>0.01754882416127698</c:v>
                </c:pt>
                <c:pt idx="4">
                  <c:v>0.05770154953814584</c:v>
                </c:pt>
                <c:pt idx="5">
                  <c:v>0.14579996000114</c:v>
                </c:pt>
                <c:pt idx="6">
                  <c:v>0.1286472547711171</c:v>
                </c:pt>
                <c:pt idx="7">
                  <c:v>0.1797236450590925</c:v>
                </c:pt>
                <c:pt idx="8">
                  <c:v>0.24907140238754868</c:v>
                </c:pt>
                <c:pt idx="9">
                  <c:v>0.15553268833943146</c:v>
                </c:pt>
                <c:pt idx="10">
                  <c:v>0.00562410260542942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7058601382366944</c:v>
                </c:pt>
                <c:pt idx="1">
                  <c:v>0.04407534036648154</c:v>
                </c:pt>
                <c:pt idx="2">
                  <c:v>0.039148147102293945</c:v>
                </c:pt>
                <c:pt idx="3">
                  <c:v>0.024302963422487257</c:v>
                </c:pt>
                <c:pt idx="4">
                  <c:v>0.06826483591000859</c:v>
                </c:pt>
                <c:pt idx="5">
                  <c:v>0.08108512902596</c:v>
                </c:pt>
                <c:pt idx="6">
                  <c:v>0.17391019501158075</c:v>
                </c:pt>
                <c:pt idx="7">
                  <c:v>0.21549263910120095</c:v>
                </c:pt>
                <c:pt idx="8">
                  <c:v>0.18617788954780062</c:v>
                </c:pt>
                <c:pt idx="9">
                  <c:v>0.09837316300554058</c:v>
                </c:pt>
                <c:pt idx="10">
                  <c:v>0.0121110961242787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5</c:v>
                </c:pt>
                <c:pt idx="1">
                  <c:v>0.01785430633929124</c:v>
                </c:pt>
                <c:pt idx="2">
                  <c:v>0.019757008334857</c:v>
                </c:pt>
                <c:pt idx="3">
                  <c:v>0.07191615694747673</c:v>
                </c:pt>
                <c:pt idx="4">
                  <c:v>0.0858147707304343</c:v>
                </c:pt>
                <c:pt idx="5">
                  <c:v>0.0990845885063961</c:v>
                </c:pt>
                <c:pt idx="6">
                  <c:v>0.10769317427022629</c:v>
                </c:pt>
                <c:pt idx="7">
                  <c:v>0.1868790002725855</c:v>
                </c:pt>
                <c:pt idx="8">
                  <c:v>0.1795843643903467</c:v>
                </c:pt>
                <c:pt idx="9">
                  <c:v>0.14013474962838257</c:v>
                </c:pt>
                <c:pt idx="10">
                  <c:v>0.059527015563115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407799527141667</c:v>
                </c:pt>
                <c:pt idx="1">
                  <c:v>0.02062966834660215</c:v>
                </c:pt>
                <c:pt idx="2">
                  <c:v>0.08008332120232514</c:v>
                </c:pt>
                <c:pt idx="3">
                  <c:v>0.02838012765167107</c:v>
                </c:pt>
                <c:pt idx="4">
                  <c:v>0.14083598542271125</c:v>
                </c:pt>
                <c:pt idx="5">
                  <c:v>0.28115211531318074</c:v>
                </c:pt>
                <c:pt idx="6">
                  <c:v>0.22040258842250043</c:v>
                </c:pt>
                <c:pt idx="7">
                  <c:v>0.07644417561014788</c:v>
                </c:pt>
                <c:pt idx="8">
                  <c:v>0.08295570341441867</c:v>
                </c:pt>
                <c:pt idx="9">
                  <c:v>0.0150383193450259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1763736145551981</c:v>
                </c:pt>
                <c:pt idx="3">
                  <c:v>0.22477381694972196</c:v>
                </c:pt>
                <c:pt idx="4">
                  <c:v>0.11083399654413399</c:v>
                </c:pt>
                <c:pt idx="5">
                  <c:v>0.10979447122894243</c:v>
                </c:pt>
                <c:pt idx="6">
                  <c:v>0.017616876179823847</c:v>
                </c:pt>
                <c:pt idx="7">
                  <c:v>0.22932390396093047</c:v>
                </c:pt>
                <c:pt idx="8">
                  <c:v>0.1685322607242979</c:v>
                </c:pt>
                <c:pt idx="9">
                  <c:v>0.082145443408913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08003546001222972</c:v>
                </c:pt>
                <c:pt idx="4">
                  <c:v>0.000746483446360842</c:v>
                </c:pt>
                <c:pt idx="5">
                  <c:v>0.052241447653462884</c:v>
                </c:pt>
                <c:pt idx="6">
                  <c:v>0.007650994406495471</c:v>
                </c:pt>
                <c:pt idx="7">
                  <c:v>0.06491184673736135</c:v>
                </c:pt>
                <c:pt idx="8">
                  <c:v>0.061714556119924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5944557335407638</c:v>
                </c:pt>
                <c:pt idx="2">
                  <c:v>0.004252663097411536</c:v>
                </c:pt>
                <c:pt idx="3">
                  <c:v>0.08495677213719335</c:v>
                </c:pt>
                <c:pt idx="4">
                  <c:v>0.027681384037725146</c:v>
                </c:pt>
                <c:pt idx="5">
                  <c:v>0.10955436823908271</c:v>
                </c:pt>
                <c:pt idx="6">
                  <c:v>0.12395847448481805</c:v>
                </c:pt>
                <c:pt idx="7">
                  <c:v>0.12103510134558404</c:v>
                </c:pt>
                <c:pt idx="8">
                  <c:v>0.3261976210034887</c:v>
                </c:pt>
                <c:pt idx="9">
                  <c:v>0.1012306356354709</c:v>
                </c:pt>
                <c:pt idx="10">
                  <c:v>0.0950696659933105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35126133814</c:v>
                </c:pt>
                <c:pt idx="5">
                  <c:v>0.0028101193110492283</c:v>
                </c:pt>
                <c:pt idx="7">
                  <c:v>0.0035370553626848478</c:v>
                </c:pt>
                <c:pt idx="8">
                  <c:v>0.00375221966265945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6401824998104595</c:v>
                </c:pt>
                <c:pt idx="8">
                  <c:v>0.00610143585621222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56737165250624</c:v>
                </c:pt>
                <c:pt idx="1">
                  <c:v>0.006500830736832529</c:v>
                </c:pt>
                <c:pt idx="2">
                  <c:v>0.023755754151071784</c:v>
                </c:pt>
                <c:pt idx="3">
                  <c:v>0.09183896834240206</c:v>
                </c:pt>
                <c:pt idx="4">
                  <c:v>0.026424087871712295</c:v>
                </c:pt>
                <c:pt idx="5">
                  <c:v>0.11744083447479575</c:v>
                </c:pt>
                <c:pt idx="6">
                  <c:v>0.11758347584513927</c:v>
                </c:pt>
                <c:pt idx="7">
                  <c:v>0.20003036869124247</c:v>
                </c:pt>
                <c:pt idx="8">
                  <c:v>0.1480596272023493</c:v>
                </c:pt>
                <c:pt idx="9">
                  <c:v>0.12746449124776776</c:v>
                </c:pt>
                <c:pt idx="10">
                  <c:v>0.1361448242714361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73131677589247</c:v>
                </c:pt>
                <c:pt idx="1">
                  <c:v>0.0019129857743461352</c:v>
                </c:pt>
                <c:pt idx="2">
                  <c:v>0.004146470508251643</c:v>
                </c:pt>
                <c:pt idx="3">
                  <c:v>0.0167907900063155</c:v>
                </c:pt>
                <c:pt idx="4">
                  <c:v>0.07365011058942977</c:v>
                </c:pt>
                <c:pt idx="5">
                  <c:v>0.15952220866396205</c:v>
                </c:pt>
                <c:pt idx="6">
                  <c:v>0.09692054606282538</c:v>
                </c:pt>
                <c:pt idx="7">
                  <c:v>0.2127471216943462</c:v>
                </c:pt>
                <c:pt idx="8">
                  <c:v>0.2016333417877657</c:v>
                </c:pt>
                <c:pt idx="9">
                  <c:v>0.14782979201706783</c:v>
                </c:pt>
                <c:pt idx="10">
                  <c:v>0.0431153161197973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302073575181155</c:v>
                </c:pt>
                <c:pt idx="1">
                  <c:v>0.009544847451932677</c:v>
                </c:pt>
                <c:pt idx="2">
                  <c:v>0.020414402762151417</c:v>
                </c:pt>
                <c:pt idx="3">
                  <c:v>0.00831984537836146</c:v>
                </c:pt>
                <c:pt idx="4">
                  <c:v>0.05606900908420356</c:v>
                </c:pt>
                <c:pt idx="5">
                  <c:v>0.09411231396955319</c:v>
                </c:pt>
                <c:pt idx="6">
                  <c:v>0.2182336914168576</c:v>
                </c:pt>
                <c:pt idx="7">
                  <c:v>0.15309383364501958</c:v>
                </c:pt>
                <c:pt idx="8">
                  <c:v>0.3421636622901666</c:v>
                </c:pt>
                <c:pt idx="9">
                  <c:v>0.083746320426572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0379942463993448</c:v>
                </c:pt>
                <c:pt idx="1">
                  <c:v>0.09152991779240488</c:v>
                </c:pt>
                <c:pt idx="2">
                  <c:v>0.004866168269544087</c:v>
                </c:pt>
                <c:pt idx="3">
                  <c:v>0.04143895876586197</c:v>
                </c:pt>
                <c:pt idx="4">
                  <c:v>0.1205505953766374</c:v>
                </c:pt>
                <c:pt idx="5">
                  <c:v>0.23404232341194106</c:v>
                </c:pt>
                <c:pt idx="6">
                  <c:v>0.17198108201208442</c:v>
                </c:pt>
                <c:pt idx="7">
                  <c:v>0.228922177430617</c:v>
                </c:pt>
                <c:pt idx="8">
                  <c:v>0.04438874975561162</c:v>
                </c:pt>
                <c:pt idx="9">
                  <c:v>0.031900084721304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8</c:v>
                </c:pt>
                <c:pt idx="5">
                  <c:v>0.06854512308483182</c:v>
                </c:pt>
                <c:pt idx="6">
                  <c:v>0.21779239683916565</c:v>
                </c:pt>
                <c:pt idx="7">
                  <c:v>0.26116784386660485</c:v>
                </c:pt>
                <c:pt idx="8">
                  <c:v>0.1584990112741501</c:v>
                </c:pt>
                <c:pt idx="9">
                  <c:v>0.05249614448092027</c:v>
                </c:pt>
                <c:pt idx="10">
                  <c:v>0.014792983449054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14416230522547</c:v>
                </c:pt>
                <c:pt idx="1">
                  <c:v>0.022345770538797674</c:v>
                </c:pt>
                <c:pt idx="2">
                  <c:v>0.03429018394452343</c:v>
                </c:pt>
                <c:pt idx="3">
                  <c:v>0.08080788065448997</c:v>
                </c:pt>
                <c:pt idx="4">
                  <c:v>0.16453614933211275</c:v>
                </c:pt>
                <c:pt idx="5">
                  <c:v>0.12102190703651872</c:v>
                </c:pt>
                <c:pt idx="6">
                  <c:v>0.06837932156017054</c:v>
                </c:pt>
                <c:pt idx="7">
                  <c:v>0.277033238563723</c:v>
                </c:pt>
                <c:pt idx="8">
                  <c:v>0.16530007726544974</c:v>
                </c:pt>
                <c:pt idx="9">
                  <c:v>0.042694142118576014</c:v>
                </c:pt>
                <c:pt idx="10">
                  <c:v>0.0038769127551155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7015941668175954</c:v>
                </c:pt>
                <c:pt idx="4">
                  <c:v>0.0390813591997439</c:v>
                </c:pt>
                <c:pt idx="5">
                  <c:v>0.04124769773083601</c:v>
                </c:pt>
                <c:pt idx="6">
                  <c:v>0.022447565871506092</c:v>
                </c:pt>
                <c:pt idx="7">
                  <c:v>0.07007288007793164</c:v>
                </c:pt>
                <c:pt idx="8">
                  <c:v>0.0177536076012936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2574791129630307</c:v>
                </c:pt>
                <c:pt idx="2">
                  <c:v>0.007666553376445415</c:v>
                </c:pt>
                <c:pt idx="3">
                  <c:v>0.057980360537331535</c:v>
                </c:pt>
                <c:pt idx="4">
                  <c:v>0.023981649856609964</c:v>
                </c:pt>
                <c:pt idx="5">
                  <c:v>0.02130787131748345</c:v>
                </c:pt>
                <c:pt idx="6">
                  <c:v>0.18063637976569014</c:v>
                </c:pt>
                <c:pt idx="7">
                  <c:v>0.14441862498561556</c:v>
                </c:pt>
                <c:pt idx="8">
                  <c:v>0.3033047413854443</c:v>
                </c:pt>
                <c:pt idx="9">
                  <c:v>0.14396835371936478</c:v>
                </c:pt>
                <c:pt idx="10">
                  <c:v>0.1040247474045487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55491145952558</c:v>
                </c:pt>
                <c:pt idx="1">
                  <c:v>0.016440133151909342</c:v>
                </c:pt>
                <c:pt idx="2">
                  <c:v>0.018194910040100366</c:v>
                </c:pt>
                <c:pt idx="3">
                  <c:v>0.04115312531860766</c:v>
                </c:pt>
                <c:pt idx="4">
                  <c:v>0.07207606056610544</c:v>
                </c:pt>
                <c:pt idx="5">
                  <c:v>0.09152516919785338</c:v>
                </c:pt>
                <c:pt idx="6">
                  <c:v>0.10792119445842582</c:v>
                </c:pt>
                <c:pt idx="7">
                  <c:v>0.18937629937870426</c:v>
                </c:pt>
                <c:pt idx="8">
                  <c:v>0.1959663782726574</c:v>
                </c:pt>
                <c:pt idx="9">
                  <c:v>0.049639033812769594</c:v>
                </c:pt>
                <c:pt idx="10">
                  <c:v>0.2115522046569141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39535160242343</c:v>
                </c:pt>
                <c:pt idx="1">
                  <c:v>0.018004328980539077</c:v>
                </c:pt>
                <c:pt idx="2">
                  <c:v>0.011101551809851031</c:v>
                </c:pt>
                <c:pt idx="3">
                  <c:v>0.01397930857373915</c:v>
                </c:pt>
                <c:pt idx="4">
                  <c:v>0.02726865997153642</c:v>
                </c:pt>
                <c:pt idx="5">
                  <c:v>0.14782692723334404</c:v>
                </c:pt>
                <c:pt idx="6">
                  <c:v>0.13485627275324794</c:v>
                </c:pt>
                <c:pt idx="7">
                  <c:v>0.15504877286571603</c:v>
                </c:pt>
                <c:pt idx="8">
                  <c:v>0.26200827027857587</c:v>
                </c:pt>
                <c:pt idx="9">
                  <c:v>0.18504429883440607</c:v>
                </c:pt>
                <c:pt idx="10">
                  <c:v>0.02046625709662095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56035532144489</c:v>
                </c:pt>
                <c:pt idx="3">
                  <c:v>0.0006088781906511064</c:v>
                </c:pt>
                <c:pt idx="4">
                  <c:v>0.0008839626744603276</c:v>
                </c:pt>
                <c:pt idx="5">
                  <c:v>0.002358141655269711</c:v>
                </c:pt>
                <c:pt idx="7">
                  <c:v>0.005735272386702752</c:v>
                </c:pt>
                <c:pt idx="8">
                  <c:v>0.0061413190476122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15526407048135</c:v>
                </c:pt>
                <c:pt idx="1">
                  <c:v>0.023478993829360306</c:v>
                </c:pt>
                <c:pt idx="2">
                  <c:v>0.04246941521493077</c:v>
                </c:pt>
                <c:pt idx="3">
                  <c:v>0.020691145323150736</c:v>
                </c:pt>
                <c:pt idx="4">
                  <c:v>0.05028369117192234</c:v>
                </c:pt>
                <c:pt idx="5">
                  <c:v>0.07257365399092294</c:v>
                </c:pt>
                <c:pt idx="6">
                  <c:v>0.14498752408549265</c:v>
                </c:pt>
                <c:pt idx="7">
                  <c:v>0.16484856603912199</c:v>
                </c:pt>
                <c:pt idx="8">
                  <c:v>0.37004087706994043</c:v>
                </c:pt>
                <c:pt idx="9">
                  <c:v>0.07152891924359055</c:v>
                </c:pt>
                <c:pt idx="10">
                  <c:v>0.0029419499610859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213776378052894</c:v>
                </c:pt>
                <c:pt idx="1">
                  <c:v>0.07601075758833604</c:v>
                </c:pt>
                <c:pt idx="2">
                  <c:v>0.019801583306298543</c:v>
                </c:pt>
                <c:pt idx="3">
                  <c:v>0.03862397741285231</c:v>
                </c:pt>
                <c:pt idx="4">
                  <c:v>0.0704181629023056</c:v>
                </c:pt>
                <c:pt idx="5">
                  <c:v>0.21572543411195483</c:v>
                </c:pt>
                <c:pt idx="6">
                  <c:v>0.3547567094846669</c:v>
                </c:pt>
                <c:pt idx="7">
                  <c:v>0.11896334298735282</c:v>
                </c:pt>
                <c:pt idx="8">
                  <c:v>0.03931459111135447</c:v>
                </c:pt>
                <c:pt idx="9">
                  <c:v>0.0242476773143495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631672301515154</c:v>
                </c:pt>
                <c:pt idx="1">
                  <c:v>0.005830094481709124</c:v>
                </c:pt>
                <c:pt idx="2">
                  <c:v>0.008894708651628284</c:v>
                </c:pt>
                <c:pt idx="3">
                  <c:v>0.02799823980619343</c:v>
                </c:pt>
                <c:pt idx="4">
                  <c:v>0.10843584406279787</c:v>
                </c:pt>
                <c:pt idx="5">
                  <c:v>0.06681764334002986</c:v>
                </c:pt>
                <c:pt idx="6">
                  <c:v>0.21500199380686644</c:v>
                </c:pt>
                <c:pt idx="7">
                  <c:v>0.26504918493742546</c:v>
                </c:pt>
                <c:pt idx="8">
                  <c:v>0.15835274753479345</c:v>
                </c:pt>
                <c:pt idx="9">
                  <c:v>0.0499648323846939</c:v>
                </c:pt>
                <c:pt idx="10">
                  <c:v>0.017337987978710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80547764915187</c:v>
                </c:pt>
                <c:pt idx="1">
                  <c:v>0.04540702001606817</c:v>
                </c:pt>
                <c:pt idx="2">
                  <c:v>0.03409405223563892</c:v>
                </c:pt>
                <c:pt idx="3">
                  <c:v>0.10811884818817145</c:v>
                </c:pt>
                <c:pt idx="4">
                  <c:v>0.165406791758633</c:v>
                </c:pt>
                <c:pt idx="5">
                  <c:v>0.0997299325842492</c:v>
                </c:pt>
                <c:pt idx="6">
                  <c:v>0.09573927311006256</c:v>
                </c:pt>
                <c:pt idx="7">
                  <c:v>0.19579893844579263</c:v>
                </c:pt>
                <c:pt idx="8">
                  <c:v>0.18662621492811068</c:v>
                </c:pt>
                <c:pt idx="9">
                  <c:v>0.020947871253378533</c:v>
                </c:pt>
                <c:pt idx="10">
                  <c:v>0.011325579830742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6730220097645388</c:v>
                </c:pt>
                <c:pt idx="4">
                  <c:v>0.07325827275035034</c:v>
                </c:pt>
                <c:pt idx="5">
                  <c:v>0.0346323593536196</c:v>
                </c:pt>
                <c:pt idx="6">
                  <c:v>0.031598520312906206</c:v>
                </c:pt>
                <c:pt idx="7">
                  <c:v>0.040062529304925924</c:v>
                </c:pt>
                <c:pt idx="8">
                  <c:v>0.01794794002006598</c:v>
                </c:pt>
                <c:pt idx="9">
                  <c:v>0.0138924835529559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2750555814452005</c:v>
                </c:pt>
                <c:pt idx="2">
                  <c:v>0.004450325450931046</c:v>
                </c:pt>
                <c:pt idx="3">
                  <c:v>0.06471624922901416</c:v>
                </c:pt>
                <c:pt idx="4">
                  <c:v>0.024844439046991046</c:v>
                </c:pt>
                <c:pt idx="5">
                  <c:v>0.06507363197089366</c:v>
                </c:pt>
                <c:pt idx="6">
                  <c:v>0.12226394010157356</c:v>
                </c:pt>
                <c:pt idx="7">
                  <c:v>0.24437305930213674</c:v>
                </c:pt>
                <c:pt idx="8">
                  <c:v>0.24572902336939234</c:v>
                </c:pt>
                <c:pt idx="9">
                  <c:v>0.15850126894474115</c:v>
                </c:pt>
                <c:pt idx="10">
                  <c:v>0.0424377845533649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549127697873031</c:v>
                </c:pt>
                <c:pt idx="1">
                  <c:v>0.018015538173938125</c:v>
                </c:pt>
                <c:pt idx="2">
                  <c:v>0.048921228940550794</c:v>
                </c:pt>
                <c:pt idx="3">
                  <c:v>0.040205132124715194</c:v>
                </c:pt>
                <c:pt idx="4">
                  <c:v>0.0350864456082146</c:v>
                </c:pt>
                <c:pt idx="5">
                  <c:v>0.12366001487517939</c:v>
                </c:pt>
                <c:pt idx="6">
                  <c:v>0.1497106993230088</c:v>
                </c:pt>
                <c:pt idx="7">
                  <c:v>0.1647679430192327</c:v>
                </c:pt>
                <c:pt idx="8">
                  <c:v>0.16299902679493175</c:v>
                </c:pt>
                <c:pt idx="9">
                  <c:v>0.1966570314498176</c:v>
                </c:pt>
                <c:pt idx="10">
                  <c:v>0.046427811992538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65898334756715</c:v>
                </c:pt>
                <c:pt idx="1">
                  <c:v>0.020705941386764733</c:v>
                </c:pt>
                <c:pt idx="2">
                  <c:v>0.0162787334152966</c:v>
                </c:pt>
                <c:pt idx="3">
                  <c:v>0.01754882416127698</c:v>
                </c:pt>
                <c:pt idx="4">
                  <c:v>0.05770154953814584</c:v>
                </c:pt>
                <c:pt idx="5">
                  <c:v>0.14579996000114</c:v>
                </c:pt>
                <c:pt idx="6">
                  <c:v>0.1286472547711171</c:v>
                </c:pt>
                <c:pt idx="7">
                  <c:v>0.1797236450590925</c:v>
                </c:pt>
                <c:pt idx="8">
                  <c:v>0.24907140238754868</c:v>
                </c:pt>
                <c:pt idx="9">
                  <c:v>0.15553268833943146</c:v>
                </c:pt>
                <c:pt idx="10">
                  <c:v>0.00562410260542942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7058601382366944</c:v>
                </c:pt>
                <c:pt idx="1">
                  <c:v>0.04407534036648154</c:v>
                </c:pt>
                <c:pt idx="2">
                  <c:v>0.039148147102293945</c:v>
                </c:pt>
                <c:pt idx="3">
                  <c:v>0.024302963422487257</c:v>
                </c:pt>
                <c:pt idx="4">
                  <c:v>0.06826483591000859</c:v>
                </c:pt>
                <c:pt idx="5">
                  <c:v>0.08108512902596</c:v>
                </c:pt>
                <c:pt idx="6">
                  <c:v>0.17391019501158075</c:v>
                </c:pt>
                <c:pt idx="7">
                  <c:v>0.21549263910120095</c:v>
                </c:pt>
                <c:pt idx="8">
                  <c:v>0.18617788954780062</c:v>
                </c:pt>
                <c:pt idx="9">
                  <c:v>0.09837316300554058</c:v>
                </c:pt>
                <c:pt idx="10">
                  <c:v>0.0121110961242787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407799527141667</c:v>
                </c:pt>
                <c:pt idx="1">
                  <c:v>0.02062966834660215</c:v>
                </c:pt>
                <c:pt idx="2">
                  <c:v>0.08008332120232514</c:v>
                </c:pt>
                <c:pt idx="3">
                  <c:v>0.02838012765167107</c:v>
                </c:pt>
                <c:pt idx="4">
                  <c:v>0.14083598542271125</c:v>
                </c:pt>
                <c:pt idx="5">
                  <c:v>0.28115211531318074</c:v>
                </c:pt>
                <c:pt idx="6">
                  <c:v>0.22040258842250043</c:v>
                </c:pt>
                <c:pt idx="7">
                  <c:v>0.07644417561014788</c:v>
                </c:pt>
                <c:pt idx="8">
                  <c:v>0.08295570341441867</c:v>
                </c:pt>
                <c:pt idx="9">
                  <c:v>0.0150383193450259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1763736145551981</c:v>
                </c:pt>
                <c:pt idx="3">
                  <c:v>0.22477381694972196</c:v>
                </c:pt>
                <c:pt idx="4">
                  <c:v>0.11083399654413399</c:v>
                </c:pt>
                <c:pt idx="5">
                  <c:v>0.10979447122894243</c:v>
                </c:pt>
                <c:pt idx="6">
                  <c:v>0.017616876179823847</c:v>
                </c:pt>
                <c:pt idx="7">
                  <c:v>0.22932390396093047</c:v>
                </c:pt>
                <c:pt idx="8">
                  <c:v>0.1685322607242979</c:v>
                </c:pt>
                <c:pt idx="9">
                  <c:v>0.082145443408913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9624955572558335</c:v>
                </c:pt>
                <c:pt idx="3">
                  <c:v>0.07844769750622496</c:v>
                </c:pt>
                <c:pt idx="4">
                  <c:v>0.08989056765723218</c:v>
                </c:pt>
                <c:pt idx="5">
                  <c:v>0.0011853292649575801</c:v>
                </c:pt>
                <c:pt idx="6">
                  <c:v>0.009911237300409399</c:v>
                </c:pt>
                <c:pt idx="7">
                  <c:v>0.09702676708548813</c:v>
                </c:pt>
                <c:pt idx="8">
                  <c:v>0.00370829581967221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5944557335407638</c:v>
                </c:pt>
                <c:pt idx="2">
                  <c:v>0.004252663097411536</c:v>
                </c:pt>
                <c:pt idx="3">
                  <c:v>0.08495677213719335</c:v>
                </c:pt>
                <c:pt idx="4">
                  <c:v>0.027681384037725146</c:v>
                </c:pt>
                <c:pt idx="5">
                  <c:v>0.10955436823908271</c:v>
                </c:pt>
                <c:pt idx="6">
                  <c:v>0.12395847448481805</c:v>
                </c:pt>
                <c:pt idx="7">
                  <c:v>0.12103510134558404</c:v>
                </c:pt>
                <c:pt idx="8">
                  <c:v>0.3261976210034887</c:v>
                </c:pt>
                <c:pt idx="9">
                  <c:v>0.1012306356354709</c:v>
                </c:pt>
                <c:pt idx="10">
                  <c:v>0.0950696659933105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56737165250624</c:v>
                </c:pt>
                <c:pt idx="1">
                  <c:v>0.006500830736832529</c:v>
                </c:pt>
                <c:pt idx="2">
                  <c:v>0.023755754151071784</c:v>
                </c:pt>
                <c:pt idx="3">
                  <c:v>0.09183896834240206</c:v>
                </c:pt>
                <c:pt idx="4">
                  <c:v>0.026424087871712295</c:v>
                </c:pt>
                <c:pt idx="5">
                  <c:v>0.11744083447479575</c:v>
                </c:pt>
                <c:pt idx="6">
                  <c:v>0.11758347584513927</c:v>
                </c:pt>
                <c:pt idx="7">
                  <c:v>0.20003036869124247</c:v>
                </c:pt>
                <c:pt idx="8">
                  <c:v>0.1480596272023493</c:v>
                </c:pt>
                <c:pt idx="9">
                  <c:v>0.12746449124776776</c:v>
                </c:pt>
                <c:pt idx="10">
                  <c:v>0.1361448242714361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73131677589247</c:v>
                </c:pt>
                <c:pt idx="1">
                  <c:v>0.0019129857743461352</c:v>
                </c:pt>
                <c:pt idx="2">
                  <c:v>0.004146470508251643</c:v>
                </c:pt>
                <c:pt idx="3">
                  <c:v>0.0167907900063155</c:v>
                </c:pt>
                <c:pt idx="4">
                  <c:v>0.07365011058942977</c:v>
                </c:pt>
                <c:pt idx="5">
                  <c:v>0.15952220866396205</c:v>
                </c:pt>
                <c:pt idx="6">
                  <c:v>0.09692054606282538</c:v>
                </c:pt>
                <c:pt idx="7">
                  <c:v>0.2127471216943462</c:v>
                </c:pt>
                <c:pt idx="8">
                  <c:v>0.2016333417877657</c:v>
                </c:pt>
                <c:pt idx="9">
                  <c:v>0.14782979201706783</c:v>
                </c:pt>
                <c:pt idx="10">
                  <c:v>0.0431153161197973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302073575181155</c:v>
                </c:pt>
                <c:pt idx="1">
                  <c:v>0.009544847451932677</c:v>
                </c:pt>
                <c:pt idx="2">
                  <c:v>0.020414402762151417</c:v>
                </c:pt>
                <c:pt idx="3">
                  <c:v>0.00831984537836146</c:v>
                </c:pt>
                <c:pt idx="4">
                  <c:v>0.05606900908420356</c:v>
                </c:pt>
                <c:pt idx="5">
                  <c:v>0.09411231396955319</c:v>
                </c:pt>
                <c:pt idx="6">
                  <c:v>0.2182336914168576</c:v>
                </c:pt>
                <c:pt idx="7">
                  <c:v>0.15309383364501958</c:v>
                </c:pt>
                <c:pt idx="8">
                  <c:v>0.3421636622901666</c:v>
                </c:pt>
                <c:pt idx="9">
                  <c:v>0.083746320426572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0379942463993448</c:v>
                </c:pt>
                <c:pt idx="1">
                  <c:v>0.09152991779240488</c:v>
                </c:pt>
                <c:pt idx="2">
                  <c:v>0.004866168269544087</c:v>
                </c:pt>
                <c:pt idx="3">
                  <c:v>0.04143895876586197</c:v>
                </c:pt>
                <c:pt idx="4">
                  <c:v>0.1205505953766374</c:v>
                </c:pt>
                <c:pt idx="5">
                  <c:v>0.23404232341194106</c:v>
                </c:pt>
                <c:pt idx="6">
                  <c:v>0.17198108201208442</c:v>
                </c:pt>
                <c:pt idx="7">
                  <c:v>0.228922177430617</c:v>
                </c:pt>
                <c:pt idx="8">
                  <c:v>0.04438874975561162</c:v>
                </c:pt>
                <c:pt idx="9">
                  <c:v>0.031900084721304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8</c:v>
                </c:pt>
                <c:pt idx="5">
                  <c:v>0.06854512308483182</c:v>
                </c:pt>
                <c:pt idx="6">
                  <c:v>0.21779239683916565</c:v>
                </c:pt>
                <c:pt idx="7">
                  <c:v>0.26116784386660485</c:v>
                </c:pt>
                <c:pt idx="8">
                  <c:v>0.1584990112741501</c:v>
                </c:pt>
                <c:pt idx="9">
                  <c:v>0.05249614448092027</c:v>
                </c:pt>
                <c:pt idx="10">
                  <c:v>0.014792983449054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14416230522547</c:v>
                </c:pt>
                <c:pt idx="1">
                  <c:v>0.022345770538797674</c:v>
                </c:pt>
                <c:pt idx="2">
                  <c:v>0.03429018394452343</c:v>
                </c:pt>
                <c:pt idx="3">
                  <c:v>0.08080788065448997</c:v>
                </c:pt>
                <c:pt idx="4">
                  <c:v>0.16453614933211275</c:v>
                </c:pt>
                <c:pt idx="5">
                  <c:v>0.12102190703651872</c:v>
                </c:pt>
                <c:pt idx="6">
                  <c:v>0.06837932156017054</c:v>
                </c:pt>
                <c:pt idx="7">
                  <c:v>0.277033238563723</c:v>
                </c:pt>
                <c:pt idx="8">
                  <c:v>0.16530007726544974</c:v>
                </c:pt>
                <c:pt idx="9">
                  <c:v>0.042694142118576014</c:v>
                </c:pt>
                <c:pt idx="10">
                  <c:v>0.0038769127551155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2574791129630307</c:v>
                </c:pt>
                <c:pt idx="2">
                  <c:v>0.007666553376445415</c:v>
                </c:pt>
                <c:pt idx="3">
                  <c:v>0.057980360537331535</c:v>
                </c:pt>
                <c:pt idx="4">
                  <c:v>0.023981649856609964</c:v>
                </c:pt>
                <c:pt idx="5">
                  <c:v>0.02130787131748345</c:v>
                </c:pt>
                <c:pt idx="6">
                  <c:v>0.18063637976569014</c:v>
                </c:pt>
                <c:pt idx="7">
                  <c:v>0.14441862498561556</c:v>
                </c:pt>
                <c:pt idx="8">
                  <c:v>0.3033047413854443</c:v>
                </c:pt>
                <c:pt idx="9">
                  <c:v>0.14396835371936478</c:v>
                </c:pt>
                <c:pt idx="10">
                  <c:v>0.1040247474045487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4">
                  <c:v>0.0005217049306835106</c:v>
                </c:pt>
                <c:pt idx="5">
                  <c:v>0.01825942080516005</c:v>
                </c:pt>
                <c:pt idx="7">
                  <c:v>0.030104786330746026</c:v>
                </c:pt>
                <c:pt idx="8">
                  <c:v>0.037905927276970515</c:v>
                </c:pt>
                <c:pt idx="9">
                  <c:v>0.0060902577625187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55491145952558</c:v>
                </c:pt>
                <c:pt idx="1">
                  <c:v>0.016440133151909342</c:v>
                </c:pt>
                <c:pt idx="2">
                  <c:v>0.018194910040100366</c:v>
                </c:pt>
                <c:pt idx="3">
                  <c:v>0.04115312531860766</c:v>
                </c:pt>
                <c:pt idx="4">
                  <c:v>0.07207606056610544</c:v>
                </c:pt>
                <c:pt idx="5">
                  <c:v>0.09152516919785338</c:v>
                </c:pt>
                <c:pt idx="6">
                  <c:v>0.10792119445842582</c:v>
                </c:pt>
                <c:pt idx="7">
                  <c:v>0.18937629937870426</c:v>
                </c:pt>
                <c:pt idx="8">
                  <c:v>0.1959663782726574</c:v>
                </c:pt>
                <c:pt idx="9">
                  <c:v>0.049639033812769594</c:v>
                </c:pt>
                <c:pt idx="10">
                  <c:v>0.2115522046569141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2318220897836638</c:v>
                </c:pt>
                <c:pt idx="8">
                  <c:v>0.0092637672189617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39535160242343</c:v>
                </c:pt>
                <c:pt idx="1">
                  <c:v>0.018004328980539077</c:v>
                </c:pt>
                <c:pt idx="2">
                  <c:v>0.011101551809851031</c:v>
                </c:pt>
                <c:pt idx="3">
                  <c:v>0.01397930857373915</c:v>
                </c:pt>
                <c:pt idx="4">
                  <c:v>0.02726865997153642</c:v>
                </c:pt>
                <c:pt idx="5">
                  <c:v>0.14782692723334404</c:v>
                </c:pt>
                <c:pt idx="6">
                  <c:v>0.13485627275324794</c:v>
                </c:pt>
                <c:pt idx="7">
                  <c:v>0.15504877286571603</c:v>
                </c:pt>
                <c:pt idx="8">
                  <c:v>0.26200827027857587</c:v>
                </c:pt>
                <c:pt idx="9">
                  <c:v>0.18504429883440607</c:v>
                </c:pt>
                <c:pt idx="10">
                  <c:v>0.02046625709662095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15526407048135</c:v>
                </c:pt>
                <c:pt idx="1">
                  <c:v>0.023478993829360306</c:v>
                </c:pt>
                <c:pt idx="2">
                  <c:v>0.04246941521493077</c:v>
                </c:pt>
                <c:pt idx="3">
                  <c:v>0.020691145323150736</c:v>
                </c:pt>
                <c:pt idx="4">
                  <c:v>0.05028369117192234</c:v>
                </c:pt>
                <c:pt idx="5">
                  <c:v>0.07257365399092294</c:v>
                </c:pt>
                <c:pt idx="6">
                  <c:v>0.14498752408549265</c:v>
                </c:pt>
                <c:pt idx="7">
                  <c:v>0.16484856603912199</c:v>
                </c:pt>
                <c:pt idx="8">
                  <c:v>0.37004087706994043</c:v>
                </c:pt>
                <c:pt idx="9">
                  <c:v>0.07152891924359055</c:v>
                </c:pt>
                <c:pt idx="10">
                  <c:v>0.0029419499610859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7</c:v>
                </c:pt>
                <c:pt idx="6">
                  <c:v>0.12652950462795648</c:v>
                </c:pt>
                <c:pt idx="7">
                  <c:v>0.1782603291847292</c:v>
                </c:pt>
                <c:pt idx="8">
                  <c:v>0.2302949686717949</c:v>
                </c:pt>
                <c:pt idx="9">
                  <c:v>0.103249599446479</c:v>
                </c:pt>
                <c:pt idx="10">
                  <c:v>0.083409027593133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213776378052894</c:v>
                </c:pt>
                <c:pt idx="1">
                  <c:v>0.07601075758833604</c:v>
                </c:pt>
                <c:pt idx="2">
                  <c:v>0.019801583306298543</c:v>
                </c:pt>
                <c:pt idx="3">
                  <c:v>0.03862397741285231</c:v>
                </c:pt>
                <c:pt idx="4">
                  <c:v>0.0704181629023056</c:v>
                </c:pt>
                <c:pt idx="5">
                  <c:v>0.21572543411195483</c:v>
                </c:pt>
                <c:pt idx="6">
                  <c:v>0.3547567094846669</c:v>
                </c:pt>
                <c:pt idx="7">
                  <c:v>0.11896334298735282</c:v>
                </c:pt>
                <c:pt idx="8">
                  <c:v>0.03931459111135447</c:v>
                </c:pt>
                <c:pt idx="9">
                  <c:v>0.0242476773143495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631672301515154</c:v>
                </c:pt>
                <c:pt idx="1">
                  <c:v>0.005830094481709124</c:v>
                </c:pt>
                <c:pt idx="2">
                  <c:v>0.008894708651628284</c:v>
                </c:pt>
                <c:pt idx="3">
                  <c:v>0.02799823980619343</c:v>
                </c:pt>
                <c:pt idx="4">
                  <c:v>0.10843584406279787</c:v>
                </c:pt>
                <c:pt idx="5">
                  <c:v>0.06681764334002986</c:v>
                </c:pt>
                <c:pt idx="6">
                  <c:v>0.21500199380686644</c:v>
                </c:pt>
                <c:pt idx="7">
                  <c:v>0.26504918493742546</c:v>
                </c:pt>
                <c:pt idx="8">
                  <c:v>0.15835274753479345</c:v>
                </c:pt>
                <c:pt idx="9">
                  <c:v>0.0499648323846939</c:v>
                </c:pt>
                <c:pt idx="10">
                  <c:v>0.017337987978710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80547764915187</c:v>
                </c:pt>
                <c:pt idx="1">
                  <c:v>0.04540702001606817</c:v>
                </c:pt>
                <c:pt idx="2">
                  <c:v>0.03409405223563892</c:v>
                </c:pt>
                <c:pt idx="3">
                  <c:v>0.10811884818817145</c:v>
                </c:pt>
                <c:pt idx="4">
                  <c:v>0.165406791758633</c:v>
                </c:pt>
                <c:pt idx="5">
                  <c:v>0.0997299325842492</c:v>
                </c:pt>
                <c:pt idx="6">
                  <c:v>0.09573927311006256</c:v>
                </c:pt>
                <c:pt idx="7">
                  <c:v>0.19579893844579263</c:v>
                </c:pt>
                <c:pt idx="8">
                  <c:v>0.18662621492811068</c:v>
                </c:pt>
                <c:pt idx="9">
                  <c:v>0.020947871253378533</c:v>
                </c:pt>
                <c:pt idx="10">
                  <c:v>0.011325579830742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2750555814452005</c:v>
                </c:pt>
                <c:pt idx="2">
                  <c:v>0.004450325450931046</c:v>
                </c:pt>
                <c:pt idx="3">
                  <c:v>0.06471624922901416</c:v>
                </c:pt>
                <c:pt idx="4">
                  <c:v>0.024844439046991046</c:v>
                </c:pt>
                <c:pt idx="5">
                  <c:v>0.06507363197089366</c:v>
                </c:pt>
                <c:pt idx="6">
                  <c:v>0.12226394010157356</c:v>
                </c:pt>
                <c:pt idx="7">
                  <c:v>0.24437305930213674</c:v>
                </c:pt>
                <c:pt idx="8">
                  <c:v>0.24572902336939234</c:v>
                </c:pt>
                <c:pt idx="9">
                  <c:v>0.15850126894474115</c:v>
                </c:pt>
                <c:pt idx="10">
                  <c:v>0.0424377845533649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256983980039187</c:v>
                </c:pt>
                <c:pt idx="4">
                  <c:v>0.003485368750144261</c:v>
                </c:pt>
                <c:pt idx="5">
                  <c:v>0.0036785679830550586</c:v>
                </c:pt>
                <c:pt idx="6">
                  <c:v>0.0020019274203202445</c:v>
                </c:pt>
                <c:pt idx="7">
                  <c:v>0.006249266439480174</c:v>
                </c:pt>
                <c:pt idx="8">
                  <c:v>0.001583309035379657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0882278192255596</c:v>
                </c:pt>
                <c:pt idx="6">
                  <c:v>0.01692267970434872</c:v>
                </c:pt>
                <c:pt idx="7">
                  <c:v>0.03958883722423117</c:v>
                </c:pt>
                <c:pt idx="8">
                  <c:v>0.03447344271987417</c:v>
                </c:pt>
                <c:pt idx="9">
                  <c:v>0.008552573597412657</c:v>
                </c:pt>
                <c:pt idx="10">
                  <c:v>0.000729161939493213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549127697873031</c:v>
                </c:pt>
                <c:pt idx="1">
                  <c:v>0.018015538173938125</c:v>
                </c:pt>
                <c:pt idx="2">
                  <c:v>0.048921228940550794</c:v>
                </c:pt>
                <c:pt idx="3">
                  <c:v>0.040205132124715194</c:v>
                </c:pt>
                <c:pt idx="4">
                  <c:v>0.0350864456082146</c:v>
                </c:pt>
                <c:pt idx="5">
                  <c:v>0.12366001487517939</c:v>
                </c:pt>
                <c:pt idx="6">
                  <c:v>0.1497106993230088</c:v>
                </c:pt>
                <c:pt idx="7">
                  <c:v>0.1647679430192327</c:v>
                </c:pt>
                <c:pt idx="8">
                  <c:v>0.16299902679493175</c:v>
                </c:pt>
                <c:pt idx="9">
                  <c:v>0.1966570314498176</c:v>
                </c:pt>
                <c:pt idx="10">
                  <c:v>0.046427811992538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415582430339055</c:v>
                </c:pt>
                <c:pt idx="8">
                  <c:v>0.011988295694564919</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65898334756715</c:v>
                </c:pt>
                <c:pt idx="1">
                  <c:v>0.020705941386764733</c:v>
                </c:pt>
                <c:pt idx="2">
                  <c:v>0.0162787334152966</c:v>
                </c:pt>
                <c:pt idx="3">
                  <c:v>0.01754882416127698</c:v>
                </c:pt>
                <c:pt idx="4">
                  <c:v>0.05770154953814584</c:v>
                </c:pt>
                <c:pt idx="5">
                  <c:v>0.14579996000114</c:v>
                </c:pt>
                <c:pt idx="6">
                  <c:v>0.1286472547711171</c:v>
                </c:pt>
                <c:pt idx="7">
                  <c:v>0.1797236450590925</c:v>
                </c:pt>
                <c:pt idx="8">
                  <c:v>0.24907140238754868</c:v>
                </c:pt>
                <c:pt idx="9">
                  <c:v>0.15553268833943146</c:v>
                </c:pt>
                <c:pt idx="10">
                  <c:v>0.00562410260542942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7058601382366944</c:v>
                </c:pt>
                <c:pt idx="1">
                  <c:v>0.04407534036648154</c:v>
                </c:pt>
                <c:pt idx="2">
                  <c:v>0.039148147102293945</c:v>
                </c:pt>
                <c:pt idx="3">
                  <c:v>0.024302963422487257</c:v>
                </c:pt>
                <c:pt idx="4">
                  <c:v>0.06826483591000859</c:v>
                </c:pt>
                <c:pt idx="5">
                  <c:v>0.08108512902596</c:v>
                </c:pt>
                <c:pt idx="6">
                  <c:v>0.17391019501158075</c:v>
                </c:pt>
                <c:pt idx="7">
                  <c:v>0.21549263910120095</c:v>
                </c:pt>
                <c:pt idx="8">
                  <c:v>0.18617788954780062</c:v>
                </c:pt>
                <c:pt idx="9">
                  <c:v>0.09837316300554058</c:v>
                </c:pt>
                <c:pt idx="10">
                  <c:v>0.0121110961242787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407799527141667</c:v>
                </c:pt>
                <c:pt idx="1">
                  <c:v>0.02062966834660215</c:v>
                </c:pt>
                <c:pt idx="2">
                  <c:v>0.08008332120232514</c:v>
                </c:pt>
                <c:pt idx="3">
                  <c:v>0.02838012765167107</c:v>
                </c:pt>
                <c:pt idx="4">
                  <c:v>0.14083598542271125</c:v>
                </c:pt>
                <c:pt idx="5">
                  <c:v>0.28115211531318074</c:v>
                </c:pt>
                <c:pt idx="6">
                  <c:v>0.22040258842250043</c:v>
                </c:pt>
                <c:pt idx="7">
                  <c:v>0.07644417561014788</c:v>
                </c:pt>
                <c:pt idx="8">
                  <c:v>0.08295570341441867</c:v>
                </c:pt>
                <c:pt idx="9">
                  <c:v>0.0150383193450259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1763736145551981</c:v>
                </c:pt>
                <c:pt idx="3">
                  <c:v>0.22477381694972196</c:v>
                </c:pt>
                <c:pt idx="4">
                  <c:v>0.11083399654413399</c:v>
                </c:pt>
                <c:pt idx="5">
                  <c:v>0.10979447122894243</c:v>
                </c:pt>
                <c:pt idx="6">
                  <c:v>0.017616876179823847</c:v>
                </c:pt>
                <c:pt idx="7">
                  <c:v>0.22932390396093047</c:v>
                </c:pt>
                <c:pt idx="8">
                  <c:v>0.1685322607242979</c:v>
                </c:pt>
                <c:pt idx="9">
                  <c:v>0.082145443408913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5944557335407638</c:v>
                </c:pt>
                <c:pt idx="2">
                  <c:v>0.004252663097411536</c:v>
                </c:pt>
                <c:pt idx="3">
                  <c:v>0.08495677213719335</c:v>
                </c:pt>
                <c:pt idx="4">
                  <c:v>0.027681384037725146</c:v>
                </c:pt>
                <c:pt idx="5">
                  <c:v>0.10955436823908271</c:v>
                </c:pt>
                <c:pt idx="6">
                  <c:v>0.12395847448481805</c:v>
                </c:pt>
                <c:pt idx="7">
                  <c:v>0.12103510134558404</c:v>
                </c:pt>
                <c:pt idx="8">
                  <c:v>0.3261976210034887</c:v>
                </c:pt>
                <c:pt idx="9">
                  <c:v>0.1012306356354709</c:v>
                </c:pt>
                <c:pt idx="10">
                  <c:v>0.0950696659933105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29633952320199126</c:v>
                </c:pt>
                <c:pt idx="6">
                  <c:v>0.004072779353838474</c:v>
                </c:pt>
                <c:pt idx="7">
                  <c:v>0.02133100990946085</c:v>
                </c:pt>
                <c:pt idx="8">
                  <c:v>0.06994396013225983</c:v>
                </c:pt>
                <c:pt idx="9">
                  <c:v>0.00943338486062818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56737165250624</c:v>
                </c:pt>
                <c:pt idx="1">
                  <c:v>0.006500830736832529</c:v>
                </c:pt>
                <c:pt idx="2">
                  <c:v>0.023755754151071784</c:v>
                </c:pt>
                <c:pt idx="3">
                  <c:v>0.09183896834240206</c:v>
                </c:pt>
                <c:pt idx="4">
                  <c:v>0.026424087871712295</c:v>
                </c:pt>
                <c:pt idx="5">
                  <c:v>0.11744083447479575</c:v>
                </c:pt>
                <c:pt idx="6">
                  <c:v>0.11758347584513927</c:v>
                </c:pt>
                <c:pt idx="7">
                  <c:v>0.20003036869124247</c:v>
                </c:pt>
                <c:pt idx="8">
                  <c:v>0.1480596272023493</c:v>
                </c:pt>
                <c:pt idx="9">
                  <c:v>0.12746449124776776</c:v>
                </c:pt>
                <c:pt idx="10">
                  <c:v>0.1361448242714361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9024634580469674</c:v>
                </c:pt>
                <c:pt idx="8">
                  <c:v>0.011687173337250879</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73131677589247</c:v>
                </c:pt>
                <c:pt idx="1">
                  <c:v>0.0019129857743461352</c:v>
                </c:pt>
                <c:pt idx="2">
                  <c:v>0.004146470508251643</c:v>
                </c:pt>
                <c:pt idx="3">
                  <c:v>0.0167907900063155</c:v>
                </c:pt>
                <c:pt idx="4">
                  <c:v>0.07365011058942977</c:v>
                </c:pt>
                <c:pt idx="5">
                  <c:v>0.15952220866396205</c:v>
                </c:pt>
                <c:pt idx="6">
                  <c:v>0.09692054606282538</c:v>
                </c:pt>
                <c:pt idx="7">
                  <c:v>0.2127471216943462</c:v>
                </c:pt>
                <c:pt idx="8">
                  <c:v>0.2016333417877657</c:v>
                </c:pt>
                <c:pt idx="9">
                  <c:v>0.14782979201706783</c:v>
                </c:pt>
                <c:pt idx="10">
                  <c:v>0.0431153161197973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302073575181155</c:v>
                </c:pt>
                <c:pt idx="1">
                  <c:v>0.009544847451932677</c:v>
                </c:pt>
                <c:pt idx="2">
                  <c:v>0.020414402762151417</c:v>
                </c:pt>
                <c:pt idx="3">
                  <c:v>0.00831984537836146</c:v>
                </c:pt>
                <c:pt idx="4">
                  <c:v>0.05606900908420356</c:v>
                </c:pt>
                <c:pt idx="5">
                  <c:v>0.09411231396955319</c:v>
                </c:pt>
                <c:pt idx="6">
                  <c:v>0.2182336914168576</c:v>
                </c:pt>
                <c:pt idx="7">
                  <c:v>0.15309383364501958</c:v>
                </c:pt>
                <c:pt idx="8">
                  <c:v>0.3421636622901666</c:v>
                </c:pt>
                <c:pt idx="9">
                  <c:v>0.083746320426572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0379942463993448</c:v>
                </c:pt>
                <c:pt idx="1">
                  <c:v>0.09152991779240488</c:v>
                </c:pt>
                <c:pt idx="2">
                  <c:v>0.004866168269544087</c:v>
                </c:pt>
                <c:pt idx="3">
                  <c:v>0.04143895876586197</c:v>
                </c:pt>
                <c:pt idx="4">
                  <c:v>0.1205505953766374</c:v>
                </c:pt>
                <c:pt idx="5">
                  <c:v>0.23404232341194106</c:v>
                </c:pt>
                <c:pt idx="6">
                  <c:v>0.17198108201208442</c:v>
                </c:pt>
                <c:pt idx="7">
                  <c:v>0.228922177430617</c:v>
                </c:pt>
                <c:pt idx="8">
                  <c:v>0.04438874975561162</c:v>
                </c:pt>
                <c:pt idx="9">
                  <c:v>0.031900084721304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8</c:v>
                </c:pt>
                <c:pt idx="5">
                  <c:v>0.06854512308483182</c:v>
                </c:pt>
                <c:pt idx="6">
                  <c:v>0.21779239683916565</c:v>
                </c:pt>
                <c:pt idx="7">
                  <c:v>0.26116784386660485</c:v>
                </c:pt>
                <c:pt idx="8">
                  <c:v>0.1584990112741501</c:v>
                </c:pt>
                <c:pt idx="9">
                  <c:v>0.05249614448092027</c:v>
                </c:pt>
                <c:pt idx="10">
                  <c:v>0.014792983449054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9</c:v>
                </c:pt>
                <c:pt idx="1">
                  <c:v>0.025712148835382802</c:v>
                </c:pt>
                <c:pt idx="2">
                  <c:v>0.03358922488016917</c:v>
                </c:pt>
                <c:pt idx="3">
                  <c:v>0.047555465818613675</c:v>
                </c:pt>
                <c:pt idx="4">
                  <c:v>0.07216931461038154</c:v>
                </c:pt>
                <c:pt idx="5">
                  <c:v>0.11538975237199361</c:v>
                </c:pt>
                <c:pt idx="6">
                  <c:v>0.13910064653920554</c:v>
                </c:pt>
                <c:pt idx="7">
                  <c:v>0.18415888055193394</c:v>
                </c:pt>
                <c:pt idx="8">
                  <c:v>0.195675797395737</c:v>
                </c:pt>
                <c:pt idx="9">
                  <c:v>0.13733259935179568</c:v>
                </c:pt>
                <c:pt idx="10">
                  <c:v>0.0253689024590849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981271760873598</c:v>
                </c:pt>
                <c:pt idx="4">
                  <c:v>0.007599096365085087</c:v>
                </c:pt>
                <c:pt idx="5">
                  <c:v>0.003592422073275713</c:v>
                </c:pt>
                <c:pt idx="6">
                  <c:v>0.0032777212980458176</c:v>
                </c:pt>
                <c:pt idx="7">
                  <c:v>0.004155694768489085</c:v>
                </c:pt>
                <c:pt idx="8">
                  <c:v>0.0018617436727184685</c:v>
                </c:pt>
                <c:pt idx="9">
                  <c:v>0.00144107030244945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5</c:v>
                </c:pt>
                <c:pt idx="1">
                  <c:v>0.01785430633929124</c:v>
                </c:pt>
                <c:pt idx="2">
                  <c:v>0.019757008334857</c:v>
                </c:pt>
                <c:pt idx="3">
                  <c:v>0.07191615694747673</c:v>
                </c:pt>
                <c:pt idx="4">
                  <c:v>0.0858147707304343</c:v>
                </c:pt>
                <c:pt idx="5">
                  <c:v>0.0990845885063961</c:v>
                </c:pt>
                <c:pt idx="6">
                  <c:v>0.10769317427022629</c:v>
                </c:pt>
                <c:pt idx="7">
                  <c:v>0.1868790002725855</c:v>
                </c:pt>
                <c:pt idx="8">
                  <c:v>0.1795843643903467</c:v>
                </c:pt>
                <c:pt idx="9">
                  <c:v>0.14013474962838257</c:v>
                </c:pt>
                <c:pt idx="10">
                  <c:v>0.059527015563115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177359115668418</c:v>
                </c:pt>
                <c:pt idx="3">
                  <c:v>0.004219779496385732</c:v>
                </c:pt>
                <c:pt idx="4">
                  <c:v>0.004835302837133787</c:v>
                </c:pt>
                <c:pt idx="6">
                  <c:v>0.0005331352897994527</c:v>
                </c:pt>
                <c:pt idx="7">
                  <c:v>0.0052191660859829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7</c:v>
                </c:pt>
                <c:pt idx="6">
                  <c:v>0.12652950462795648</c:v>
                </c:pt>
                <c:pt idx="7">
                  <c:v>0.1782603291847292</c:v>
                </c:pt>
                <c:pt idx="8">
                  <c:v>0.2302949686717949</c:v>
                </c:pt>
                <c:pt idx="9">
                  <c:v>0.103249599446479</c:v>
                </c:pt>
                <c:pt idx="10">
                  <c:v>0.083409027593133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52079563115113294</c:v>
                </c:pt>
                <c:pt idx="7">
                  <c:v>0.0038935850347138583</c:v>
                </c:pt>
                <c:pt idx="8">
                  <c:v>0.007047044276208316</c:v>
                </c:pt>
                <c:pt idx="9">
                  <c:v>0.000692013722130404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9</c:v>
                </c:pt>
                <c:pt idx="1">
                  <c:v>0.025712148835382802</c:v>
                </c:pt>
                <c:pt idx="2">
                  <c:v>0.03358922488016917</c:v>
                </c:pt>
                <c:pt idx="3">
                  <c:v>0.047555465818613675</c:v>
                </c:pt>
                <c:pt idx="4">
                  <c:v>0.07216931461038154</c:v>
                </c:pt>
                <c:pt idx="5">
                  <c:v>0.11538975237199361</c:v>
                </c:pt>
                <c:pt idx="6">
                  <c:v>0.13910064653920554</c:v>
                </c:pt>
                <c:pt idx="7">
                  <c:v>0.18415888055193394</c:v>
                </c:pt>
                <c:pt idx="8">
                  <c:v>0.195675797395737</c:v>
                </c:pt>
                <c:pt idx="9">
                  <c:v>0.13733259935179568</c:v>
                </c:pt>
                <c:pt idx="10">
                  <c:v>0.0253689024590849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664298652854376</c:v>
                </c:pt>
                <c:pt idx="6">
                  <c:v>0.003089423275313602</c:v>
                </c:pt>
                <c:pt idx="7">
                  <c:v>0.006460184788650986</c:v>
                </c:pt>
                <c:pt idx="8">
                  <c:v>0.008665698137942348</c:v>
                </c:pt>
                <c:pt idx="9">
                  <c:v>0.00108807853086587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5</c:v>
                </c:pt>
                <c:pt idx="1">
                  <c:v>0.01785430633929124</c:v>
                </c:pt>
                <c:pt idx="2">
                  <c:v>0.019757008334857</c:v>
                </c:pt>
                <c:pt idx="3">
                  <c:v>0.07191615694747673</c:v>
                </c:pt>
                <c:pt idx="4">
                  <c:v>0.0858147707304343</c:v>
                </c:pt>
                <c:pt idx="5">
                  <c:v>0.0990845885063961</c:v>
                </c:pt>
                <c:pt idx="6">
                  <c:v>0.10769317427022629</c:v>
                </c:pt>
                <c:pt idx="7">
                  <c:v>0.1868790002725855</c:v>
                </c:pt>
                <c:pt idx="8">
                  <c:v>0.1795843643903467</c:v>
                </c:pt>
                <c:pt idx="9">
                  <c:v>0.14013474962838257</c:v>
                </c:pt>
                <c:pt idx="10">
                  <c:v>0.059527015563115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5202794260430797</c:v>
                </c:pt>
                <c:pt idx="7">
                  <c:v>0.0022802319402008037</c:v>
                </c:pt>
                <c:pt idx="8">
                  <c:v>0.006739216948338604</c:v>
                </c:pt>
                <c:pt idx="9">
                  <c:v>0.00066873521730281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8110296604864</c:v>
                </c:pt>
                <c:pt idx="1">
                  <c:v>0.01985881062028262</c:v>
                </c:pt>
                <c:pt idx="2">
                  <c:v>0.020672714894646352</c:v>
                </c:pt>
                <c:pt idx="3">
                  <c:v>0.03816181269444779</c:v>
                </c:pt>
                <c:pt idx="4">
                  <c:v>0.061731993688228556</c:v>
                </c:pt>
                <c:pt idx="5">
                  <c:v>0.09898178660011778</c:v>
                </c:pt>
                <c:pt idx="6">
                  <c:v>0.13314597481758586</c:v>
                </c:pt>
                <c:pt idx="7">
                  <c:v>0.17875425689666183</c:v>
                </c:pt>
                <c:pt idx="8">
                  <c:v>0.24426115458186037</c:v>
                </c:pt>
                <c:pt idx="9">
                  <c:v>0.09503180714688038</c:v>
                </c:pt>
                <c:pt idx="10">
                  <c:v>0.0926915777626836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6167359067666416</c:v>
                </c:pt>
                <c:pt idx="3">
                  <c:v>0.0007205909721310282</c:v>
                </c:pt>
                <c:pt idx="4">
                  <c:v>0.001046146064512113</c:v>
                </c:pt>
                <c:pt idx="5">
                  <c:v>0.0027907972627108997</c:v>
                </c:pt>
                <c:pt idx="7">
                  <c:v>0.006787540706871052</c:v>
                </c:pt>
                <c:pt idx="8">
                  <c:v>0.007268086015617361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2628279398224</c:v>
                </c:pt>
                <c:pt idx="1">
                  <c:v>0.0011038921196886058</c:v>
                </c:pt>
                <c:pt idx="2">
                  <c:v>0.0015283985064629768</c:v>
                </c:pt>
                <c:pt idx="3">
                  <c:v>0.24076304159164355</c:v>
                </c:pt>
                <c:pt idx="4">
                  <c:v>0.25076624691744265</c:v>
                </c:pt>
                <c:pt idx="5">
                  <c:v>0.09502257074442175</c:v>
                </c:pt>
                <c:pt idx="6">
                  <c:v>0.01776750922929795</c:v>
                </c:pt>
                <c:pt idx="7">
                  <c:v>0.1586232953835337</c:v>
                </c:pt>
                <c:pt idx="8">
                  <c:v>0.20675803051853367</c:v>
                </c:pt>
                <c:pt idx="9">
                  <c:v>0.0096407321949929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848985864658</c:v>
                </c:pt>
                <c:pt idx="2">
                  <c:v>0.04538602893418363</c:v>
                </c:pt>
                <c:pt idx="3">
                  <c:v>0.007906538469993625</c:v>
                </c:pt>
                <c:pt idx="4">
                  <c:v>0.005480867425960825</c:v>
                </c:pt>
                <c:pt idx="5">
                  <c:v>0.01542324587261205</c:v>
                </c:pt>
                <c:pt idx="6">
                  <c:v>0.06904094312888082</c:v>
                </c:pt>
                <c:pt idx="7">
                  <c:v>0.15744516134834333</c:v>
                </c:pt>
                <c:pt idx="8">
                  <c:v>0.2739069741414973</c:v>
                </c:pt>
                <c:pt idx="9">
                  <c:v>0.1947065662490482</c:v>
                </c:pt>
                <c:pt idx="10">
                  <c:v>0.225385184570833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c:v>
                </c:pt>
                <c:pt idx="1">
                  <c:v>0.026808770478219595</c:v>
                </c:pt>
                <c:pt idx="2">
                  <c:v>0.033618921453349215</c:v>
                </c:pt>
                <c:pt idx="3">
                  <c:v>0.043193698660743136</c:v>
                </c:pt>
                <c:pt idx="4">
                  <c:v>0.06086647020153795</c:v>
                </c:pt>
                <c:pt idx="5">
                  <c:v>0.11629275414523582</c:v>
                </c:pt>
                <c:pt idx="6">
                  <c:v>0.14114999538782796</c:v>
                </c:pt>
                <c:pt idx="7">
                  <c:v>0.18708207317322248</c:v>
                </c:pt>
                <c:pt idx="8">
                  <c:v>0.1967227295391132</c:v>
                </c:pt>
                <c:pt idx="9">
                  <c:v>0.14353338057932885</c:v>
                </c:pt>
                <c:pt idx="10">
                  <c:v>0.026654505626985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26574529464262</c:v>
                </c:pt>
                <c:pt idx="3">
                  <c:v>0.0034725365029936576</c:v>
                </c:pt>
                <c:pt idx="4">
                  <c:v>0.0018439494441048283</c:v>
                </c:pt>
                <c:pt idx="5">
                  <c:v>0.0022671840543629514</c:v>
                </c:pt>
                <c:pt idx="6">
                  <c:v>0.0025051656416924775</c:v>
                </c:pt>
                <c:pt idx="7">
                  <c:v>0.006024157361937826</c:v>
                </c:pt>
                <c:pt idx="8">
                  <c:v>0.00714170999076862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2</c:v>
                </c:pt>
                <c:pt idx="6">
                  <c:v>0.07802381189235881</c:v>
                </c:pt>
                <c:pt idx="7">
                  <c:v>0.11515289447697061</c:v>
                </c:pt>
                <c:pt idx="8">
                  <c:v>0.1802110412061716</c:v>
                </c:pt>
                <c:pt idx="9">
                  <c:v>0.01543623998233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540631649573792</c:v>
                </c:pt>
                <c:pt idx="1">
                  <c:v>0.012093629714621367</c:v>
                </c:pt>
                <c:pt idx="2">
                  <c:v>0.014394612949775013</c:v>
                </c:pt>
                <c:pt idx="3">
                  <c:v>0.07418026880793831</c:v>
                </c:pt>
                <c:pt idx="4">
                  <c:v>0.05471854397776581</c:v>
                </c:pt>
                <c:pt idx="5">
                  <c:v>0.1256468879206534</c:v>
                </c:pt>
                <c:pt idx="6">
                  <c:v>0.11871841643855079</c:v>
                </c:pt>
                <c:pt idx="7">
                  <c:v>0.18860584810262948</c:v>
                </c:pt>
                <c:pt idx="8">
                  <c:v>0.21497156766096434</c:v>
                </c:pt>
                <c:pt idx="9">
                  <c:v>0.11387875955480223</c:v>
                </c:pt>
                <c:pt idx="10">
                  <c:v>0.068250833222725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9</c:v>
                </c:pt>
                <c:pt idx="1">
                  <c:v>0.025712148835382802</c:v>
                </c:pt>
                <c:pt idx="2">
                  <c:v>0.03358922488016917</c:v>
                </c:pt>
                <c:pt idx="3">
                  <c:v>0.047555465818613675</c:v>
                </c:pt>
                <c:pt idx="4">
                  <c:v>0.07216931461038154</c:v>
                </c:pt>
                <c:pt idx="5">
                  <c:v>0.11538975237199361</c:v>
                </c:pt>
                <c:pt idx="6">
                  <c:v>0.13910064653920554</c:v>
                </c:pt>
                <c:pt idx="7">
                  <c:v>0.18415888055193394</c:v>
                </c:pt>
                <c:pt idx="8">
                  <c:v>0.195675797395737</c:v>
                </c:pt>
                <c:pt idx="9">
                  <c:v>0.13733259935179568</c:v>
                </c:pt>
                <c:pt idx="10">
                  <c:v>0.0253689024590849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09571985291514</c:v>
                </c:pt>
                <c:pt idx="2">
                  <c:v>0.0009073061264304924</c:v>
                </c:pt>
                <c:pt idx="5">
                  <c:v>0.005922248151299687</c:v>
                </c:pt>
                <c:pt idx="6">
                  <c:v>0.0008709509477839196</c:v>
                </c:pt>
                <c:pt idx="7">
                  <c:v>0.007454245625921049</c:v>
                </c:pt>
                <c:pt idx="8">
                  <c:v>0.00790769839311852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5919305396859</c:v>
                </c:pt>
                <c:pt idx="3">
                  <c:v>0.38033761780311476</c:v>
                </c:pt>
                <c:pt idx="4">
                  <c:v>0.10777100894814891</c:v>
                </c:pt>
                <c:pt idx="5">
                  <c:v>0.1124391481839141</c:v>
                </c:pt>
                <c:pt idx="6">
                  <c:v>0.005705814164921815</c:v>
                </c:pt>
                <c:pt idx="7">
                  <c:v>0.18411949957147977</c:v>
                </c:pt>
                <c:pt idx="8">
                  <c:v>0.201206486826311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7402912863983</c:v>
                </c:pt>
                <c:pt idx="2">
                  <c:v>0.04008374234048721</c:v>
                </c:pt>
                <c:pt idx="3">
                  <c:v>0.012276837033556913</c:v>
                </c:pt>
                <c:pt idx="4">
                  <c:v>0.007189571067283759</c:v>
                </c:pt>
                <c:pt idx="5">
                  <c:v>0.013904077409810173</c:v>
                </c:pt>
                <c:pt idx="6">
                  <c:v>0.07182911164645787</c:v>
                </c:pt>
                <c:pt idx="7">
                  <c:v>0.15564817221283697</c:v>
                </c:pt>
                <c:pt idx="8">
                  <c:v>0.2797607683003629</c:v>
                </c:pt>
                <c:pt idx="9">
                  <c:v>0.18838515478963205</c:v>
                </c:pt>
                <c:pt idx="10">
                  <c:v>0.2254734403582602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8110296604864</c:v>
                </c:pt>
                <c:pt idx="1">
                  <c:v>0.01985881062028262</c:v>
                </c:pt>
                <c:pt idx="2">
                  <c:v>0.020672714894646352</c:v>
                </c:pt>
                <c:pt idx="3">
                  <c:v>0.03816181269444779</c:v>
                </c:pt>
                <c:pt idx="4">
                  <c:v>0.061731993688228556</c:v>
                </c:pt>
                <c:pt idx="5">
                  <c:v>0.09898178660011778</c:v>
                </c:pt>
                <c:pt idx="6">
                  <c:v>0.13314597481758586</c:v>
                </c:pt>
                <c:pt idx="7">
                  <c:v>0.17875425689666183</c:v>
                </c:pt>
                <c:pt idx="8">
                  <c:v>0.24426115458186037</c:v>
                </c:pt>
                <c:pt idx="9">
                  <c:v>0.09503180714688038</c:v>
                </c:pt>
                <c:pt idx="10">
                  <c:v>0.0926915777626836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404972354098087</c:v>
                </c:pt>
                <c:pt idx="4">
                  <c:v>0.004124840229892041</c:v>
                </c:pt>
                <c:pt idx="5">
                  <c:v>0.004353486328891395</c:v>
                </c:pt>
                <c:pt idx="6">
                  <c:v>0.0023692272906042297</c:v>
                </c:pt>
                <c:pt idx="7">
                  <c:v>0.007395838852292196</c:v>
                </c:pt>
                <c:pt idx="8">
                  <c:v>0.00187380368439214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2628279398224</c:v>
                </c:pt>
                <c:pt idx="1">
                  <c:v>0.0011038921196886058</c:v>
                </c:pt>
                <c:pt idx="2">
                  <c:v>0.0015283985064629768</c:v>
                </c:pt>
                <c:pt idx="3">
                  <c:v>0.24076304159164355</c:v>
                </c:pt>
                <c:pt idx="4">
                  <c:v>0.25076624691744265</c:v>
                </c:pt>
                <c:pt idx="5">
                  <c:v>0.09502257074442175</c:v>
                </c:pt>
                <c:pt idx="6">
                  <c:v>0.01776750922929795</c:v>
                </c:pt>
                <c:pt idx="7">
                  <c:v>0.1586232953835337</c:v>
                </c:pt>
                <c:pt idx="8">
                  <c:v>0.20675803051853367</c:v>
                </c:pt>
                <c:pt idx="9">
                  <c:v>0.0096407321949929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3921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44537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08748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57964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93168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50160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74288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78621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11944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251529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3937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5088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948704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97579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41308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56779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56377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619215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4377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285225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86272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41006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13297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529210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734926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349290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106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81178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112004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22393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2366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0217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9734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8920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54356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68309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